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6"/>
  </p:notesMasterIdLst>
  <p:sldIdLst>
    <p:sldId id="366" r:id="rId2"/>
    <p:sldId id="367" r:id="rId3"/>
    <p:sldId id="369" r:id="rId4"/>
    <p:sldId id="368" r:id="rId5"/>
  </p:sldIdLst>
  <p:sldSz cx="12192000" cy="6858000"/>
  <p:notesSz cx="6858000" cy="9144000"/>
  <p:embeddedFontLst>
    <p:embeddedFont>
      <p:font typeface="Rubik" panose="00000500000000000000" pitchFamily="50" charset="-79"/>
      <p:regular r:id="rId7"/>
      <p:bold r:id="rId8"/>
      <p:italic r:id="rId9"/>
    </p:embeddedFont>
    <p:embeddedFont>
      <p:font typeface="Trebuchet MS" panose="020B0603020202020204" pitchFamily="34" charset="0"/>
      <p:regular r:id="rId10"/>
      <p:bold r:id="rId11"/>
      <p:italic r:id="rId12"/>
      <p:boldItalic r:id="rId13"/>
    </p:embeddedFont>
  </p:embeddedFontLst>
  <p:custDataLst>
    <p:tags r:id="rId14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94251E5-0B3B-437C-9C4B-8ABB2BD5D3DA}" v="7" dt="2022-01-29T12:49:58.731"/>
  </p1510:revLst>
</p1510:revInfo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howGuides="1">
      <p:cViewPr>
        <p:scale>
          <a:sx n="94" d="100"/>
          <a:sy n="94" d="100"/>
        </p:scale>
        <p:origin x="115" y="53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font" Target="fonts/font4.fntdata"/><Relationship Id="rId19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llapally, Niveed Kumar Reddy" userId="28c4fb1b-a9b6-485c-8fb3-0353347fb226" providerId="ADAL" clId="{F94251E5-0B3B-437C-9C4B-8ABB2BD5D3DA}"/>
    <pc:docChg chg="undo custSel modSld">
      <pc:chgData name="Bollapally, Niveed Kumar Reddy" userId="28c4fb1b-a9b6-485c-8fb3-0353347fb226" providerId="ADAL" clId="{F94251E5-0B3B-437C-9C4B-8ABB2BD5D3DA}" dt="2022-01-29T13:11:56.894" v="804" actId="20577"/>
      <pc:docMkLst>
        <pc:docMk/>
      </pc:docMkLst>
      <pc:sldChg chg="addSp delSp modSp mod">
        <pc:chgData name="Bollapally, Niveed Kumar Reddy" userId="28c4fb1b-a9b6-485c-8fb3-0353347fb226" providerId="ADAL" clId="{F94251E5-0B3B-437C-9C4B-8ABB2BD5D3DA}" dt="2022-01-29T12:50:52.238" v="134" actId="478"/>
        <pc:sldMkLst>
          <pc:docMk/>
          <pc:sldMk cId="684571084" sldId="366"/>
        </pc:sldMkLst>
        <pc:spChg chg="add del mod">
          <ac:chgData name="Bollapally, Niveed Kumar Reddy" userId="28c4fb1b-a9b6-485c-8fb3-0353347fb226" providerId="ADAL" clId="{F94251E5-0B3B-437C-9C4B-8ABB2BD5D3DA}" dt="2022-01-29T12:44:30.541" v="85" actId="478"/>
          <ac:spMkLst>
            <pc:docMk/>
            <pc:sldMk cId="684571084" sldId="366"/>
            <ac:spMk id="5" creationId="{1AC1E9FA-2252-4C17-944C-ABCCC2142E87}"/>
          </ac:spMkLst>
        </pc:spChg>
        <pc:spChg chg="add del mod">
          <ac:chgData name="Bollapally, Niveed Kumar Reddy" userId="28c4fb1b-a9b6-485c-8fb3-0353347fb226" providerId="ADAL" clId="{F94251E5-0B3B-437C-9C4B-8ABB2BD5D3DA}" dt="2022-01-29T12:44:51.309" v="88" actId="478"/>
          <ac:spMkLst>
            <pc:docMk/>
            <pc:sldMk cId="684571084" sldId="366"/>
            <ac:spMk id="9" creationId="{31F0BA12-2FEA-4B41-85F6-5E613F116A0E}"/>
          </ac:spMkLst>
        </pc:spChg>
        <pc:spChg chg="add del mod">
          <ac:chgData name="Bollapally, Niveed Kumar Reddy" userId="28c4fb1b-a9b6-485c-8fb3-0353347fb226" providerId="ADAL" clId="{F94251E5-0B3B-437C-9C4B-8ABB2BD5D3DA}" dt="2022-01-29T12:44:59.822" v="90" actId="21"/>
          <ac:spMkLst>
            <pc:docMk/>
            <pc:sldMk cId="684571084" sldId="366"/>
            <ac:spMk id="11" creationId="{E97E24C2-6A84-4948-94D1-28B3D6234179}"/>
          </ac:spMkLst>
        </pc:spChg>
        <pc:spChg chg="mod">
          <ac:chgData name="Bollapally, Niveed Kumar Reddy" userId="28c4fb1b-a9b6-485c-8fb3-0353347fb226" providerId="ADAL" clId="{F94251E5-0B3B-437C-9C4B-8ABB2BD5D3DA}" dt="2022-01-29T12:47:58.116" v="113" actId="1076"/>
          <ac:spMkLst>
            <pc:docMk/>
            <pc:sldMk cId="684571084" sldId="366"/>
            <ac:spMk id="16" creationId="{6D6DA9F7-DB64-4567-BE8E-E069C1B10127}"/>
          </ac:spMkLst>
        </pc:spChg>
        <pc:spChg chg="mod">
          <ac:chgData name="Bollapally, Niveed Kumar Reddy" userId="28c4fb1b-a9b6-485c-8fb3-0353347fb226" providerId="ADAL" clId="{F94251E5-0B3B-437C-9C4B-8ABB2BD5D3DA}" dt="2022-01-29T12:47:56.674" v="112" actId="1076"/>
          <ac:spMkLst>
            <pc:docMk/>
            <pc:sldMk cId="684571084" sldId="366"/>
            <ac:spMk id="17" creationId="{86EFEFE6-40D8-4F98-A8DC-DB4A69331A78}"/>
          </ac:spMkLst>
        </pc:spChg>
        <pc:spChg chg="mod">
          <ac:chgData name="Bollapally, Niveed Kumar Reddy" userId="28c4fb1b-a9b6-485c-8fb3-0353347fb226" providerId="ADAL" clId="{F94251E5-0B3B-437C-9C4B-8ABB2BD5D3DA}" dt="2022-01-29T12:41:37.933" v="73" actId="20577"/>
          <ac:spMkLst>
            <pc:docMk/>
            <pc:sldMk cId="684571084" sldId="366"/>
            <ac:spMk id="18" creationId="{1A8455E1-E124-45CE-B4DD-AE99CCF9A248}"/>
          </ac:spMkLst>
        </pc:spChg>
        <pc:spChg chg="add del">
          <ac:chgData name="Bollapally, Niveed Kumar Reddy" userId="28c4fb1b-a9b6-485c-8fb3-0353347fb226" providerId="ADAL" clId="{F94251E5-0B3B-437C-9C4B-8ABB2BD5D3DA}" dt="2022-01-29T12:48:44.451" v="114" actId="931"/>
          <ac:spMkLst>
            <pc:docMk/>
            <pc:sldMk cId="684571084" sldId="366"/>
            <ac:spMk id="19" creationId="{BBAF474D-C48B-47A3-AD43-776B973A4A16}"/>
          </ac:spMkLst>
        </pc:spChg>
        <pc:picChg chg="add del mod ord modCrop">
          <ac:chgData name="Bollapally, Niveed Kumar Reddy" userId="28c4fb1b-a9b6-485c-8fb3-0353347fb226" providerId="ADAL" clId="{F94251E5-0B3B-437C-9C4B-8ABB2BD5D3DA}" dt="2022-01-29T12:45:04.057" v="101" actId="22"/>
          <ac:picMkLst>
            <pc:docMk/>
            <pc:sldMk cId="684571084" sldId="366"/>
            <ac:picMk id="3" creationId="{F6421760-F515-4811-BF50-4788B3D713C2}"/>
          </ac:picMkLst>
        </pc:picChg>
        <pc:picChg chg="add del mod">
          <ac:chgData name="Bollapally, Niveed Kumar Reddy" userId="28c4fb1b-a9b6-485c-8fb3-0353347fb226" providerId="ADAL" clId="{F94251E5-0B3B-437C-9C4B-8ABB2BD5D3DA}" dt="2022-01-29T12:46:01.412" v="109"/>
          <ac:picMkLst>
            <pc:docMk/>
            <pc:sldMk cId="684571084" sldId="366"/>
            <ac:picMk id="12" creationId="{B5A0FB33-35F4-492C-AC1F-A356F9E71ADB}"/>
          </ac:picMkLst>
        </pc:picChg>
        <pc:picChg chg="add mod">
          <ac:chgData name="Bollapally, Niveed Kumar Reddy" userId="28c4fb1b-a9b6-485c-8fb3-0353347fb226" providerId="ADAL" clId="{F94251E5-0B3B-437C-9C4B-8ABB2BD5D3DA}" dt="2022-01-29T12:49:15.360" v="121" actId="962"/>
          <ac:picMkLst>
            <pc:docMk/>
            <pc:sldMk cId="684571084" sldId="366"/>
            <ac:picMk id="14" creationId="{379C5F59-8B65-447B-8DA4-3F27998709F5}"/>
          </ac:picMkLst>
        </pc:picChg>
        <pc:picChg chg="add del mod">
          <ac:chgData name="Bollapally, Niveed Kumar Reddy" userId="28c4fb1b-a9b6-485c-8fb3-0353347fb226" providerId="ADAL" clId="{F94251E5-0B3B-437C-9C4B-8ABB2BD5D3DA}" dt="2022-01-29T12:50:52.238" v="134" actId="478"/>
          <ac:picMkLst>
            <pc:docMk/>
            <pc:sldMk cId="684571084" sldId="366"/>
            <ac:picMk id="15" creationId="{9369A5D6-B24F-416B-A02D-D8CA79532F15}"/>
          </ac:picMkLst>
        </pc:picChg>
        <pc:picChg chg="add del mod">
          <ac:chgData name="Bollapally, Niveed Kumar Reddy" userId="28c4fb1b-a9b6-485c-8fb3-0353347fb226" providerId="ADAL" clId="{F94251E5-0B3B-437C-9C4B-8ABB2BD5D3DA}" dt="2022-01-29T12:45:41.779" v="105"/>
          <ac:picMkLst>
            <pc:docMk/>
            <pc:sldMk cId="684571084" sldId="366"/>
            <ac:picMk id="20" creationId="{857C26D5-A7E5-4B8B-8E58-42CF36192A36}"/>
          </ac:picMkLst>
        </pc:picChg>
      </pc:sldChg>
      <pc:sldChg chg="modSp mod">
        <pc:chgData name="Bollapally, Niveed Kumar Reddy" userId="28c4fb1b-a9b6-485c-8fb3-0353347fb226" providerId="ADAL" clId="{F94251E5-0B3B-437C-9C4B-8ABB2BD5D3DA}" dt="2022-01-29T13:01:43.591" v="512" actId="20577"/>
        <pc:sldMkLst>
          <pc:docMk/>
          <pc:sldMk cId="1022597847" sldId="367"/>
        </pc:sldMkLst>
        <pc:spChg chg="mod">
          <ac:chgData name="Bollapally, Niveed Kumar Reddy" userId="28c4fb1b-a9b6-485c-8fb3-0353347fb226" providerId="ADAL" clId="{F94251E5-0B3B-437C-9C4B-8ABB2BD5D3DA}" dt="2022-01-29T12:51:19.618" v="142" actId="20577"/>
          <ac:spMkLst>
            <pc:docMk/>
            <pc:sldMk cId="1022597847" sldId="367"/>
            <ac:spMk id="2" creationId="{6F28F343-BA60-4E08-9E39-5B5A8795CDA4}"/>
          </ac:spMkLst>
        </pc:spChg>
        <pc:spChg chg="mod">
          <ac:chgData name="Bollapally, Niveed Kumar Reddy" userId="28c4fb1b-a9b6-485c-8fb3-0353347fb226" providerId="ADAL" clId="{F94251E5-0B3B-437C-9C4B-8ABB2BD5D3DA}" dt="2022-01-29T13:01:43.591" v="512" actId="20577"/>
          <ac:spMkLst>
            <pc:docMk/>
            <pc:sldMk cId="1022597847" sldId="367"/>
            <ac:spMk id="6" creationId="{525CBB0E-B869-4882-8948-65DD257EDC97}"/>
          </ac:spMkLst>
        </pc:spChg>
      </pc:sldChg>
      <pc:sldChg chg="addSp delSp modSp mod modClrScheme chgLayout">
        <pc:chgData name="Bollapally, Niveed Kumar Reddy" userId="28c4fb1b-a9b6-485c-8fb3-0353347fb226" providerId="ADAL" clId="{F94251E5-0B3B-437C-9C4B-8ABB2BD5D3DA}" dt="2022-01-29T13:11:56.894" v="804" actId="20577"/>
        <pc:sldMkLst>
          <pc:docMk/>
          <pc:sldMk cId="1336772705" sldId="369"/>
        </pc:sldMkLst>
        <pc:spChg chg="mod ord">
          <ac:chgData name="Bollapally, Niveed Kumar Reddy" userId="28c4fb1b-a9b6-485c-8fb3-0353347fb226" providerId="ADAL" clId="{F94251E5-0B3B-437C-9C4B-8ABB2BD5D3DA}" dt="2022-01-29T13:04:54.566" v="525" actId="26606"/>
          <ac:spMkLst>
            <pc:docMk/>
            <pc:sldMk cId="1336772705" sldId="369"/>
            <ac:spMk id="2" creationId="{3729475E-5342-4F14-86B6-B051CA586F3F}"/>
          </ac:spMkLst>
        </pc:spChg>
        <pc:spChg chg="mod">
          <ac:chgData name="Bollapally, Niveed Kumar Reddy" userId="28c4fb1b-a9b6-485c-8fb3-0353347fb226" providerId="ADAL" clId="{F94251E5-0B3B-437C-9C4B-8ABB2BD5D3DA}" dt="2022-01-29T13:04:54.566" v="525" actId="26606"/>
          <ac:spMkLst>
            <pc:docMk/>
            <pc:sldMk cId="1336772705" sldId="369"/>
            <ac:spMk id="3" creationId="{29F384B6-4E30-43F2-856C-4931E95D1C09}"/>
          </ac:spMkLst>
        </pc:spChg>
        <pc:spChg chg="mod">
          <ac:chgData name="Bollapally, Niveed Kumar Reddy" userId="28c4fb1b-a9b6-485c-8fb3-0353347fb226" providerId="ADAL" clId="{F94251E5-0B3B-437C-9C4B-8ABB2BD5D3DA}" dt="2022-01-29T13:04:54.566" v="525" actId="26606"/>
          <ac:spMkLst>
            <pc:docMk/>
            <pc:sldMk cId="1336772705" sldId="369"/>
            <ac:spMk id="4" creationId="{5F02E374-7038-4DE3-AA02-A2C34A7E519F}"/>
          </ac:spMkLst>
        </pc:spChg>
        <pc:spChg chg="del">
          <ac:chgData name="Bollapally, Niveed Kumar Reddy" userId="28c4fb1b-a9b6-485c-8fb3-0353347fb226" providerId="ADAL" clId="{F94251E5-0B3B-437C-9C4B-8ABB2BD5D3DA}" dt="2022-01-29T13:03:07.400" v="514" actId="26606"/>
          <ac:spMkLst>
            <pc:docMk/>
            <pc:sldMk cId="1336772705" sldId="369"/>
            <ac:spMk id="5" creationId="{52816D73-16BF-4DE5-9470-389365833768}"/>
          </ac:spMkLst>
        </pc:spChg>
        <pc:spChg chg="del">
          <ac:chgData name="Bollapally, Niveed Kumar Reddy" userId="28c4fb1b-a9b6-485c-8fb3-0353347fb226" providerId="ADAL" clId="{F94251E5-0B3B-437C-9C4B-8ABB2BD5D3DA}" dt="2022-01-29T13:03:02.060" v="513" actId="22"/>
          <ac:spMkLst>
            <pc:docMk/>
            <pc:sldMk cId="1336772705" sldId="369"/>
            <ac:spMk id="6" creationId="{8300A30E-56D3-4B3A-8CDB-4EC8BF085B07}"/>
          </ac:spMkLst>
        </pc:spChg>
        <pc:spChg chg="add del mod">
          <ac:chgData name="Bollapally, Niveed Kumar Reddy" userId="28c4fb1b-a9b6-485c-8fb3-0353347fb226" providerId="ADAL" clId="{F94251E5-0B3B-437C-9C4B-8ABB2BD5D3DA}" dt="2022-01-29T13:03:53.682" v="516" actId="26606"/>
          <ac:spMkLst>
            <pc:docMk/>
            <pc:sldMk cId="1336772705" sldId="369"/>
            <ac:spMk id="13" creationId="{1E0C0E5E-3DBC-4403-8B43-FF606DCC391D}"/>
          </ac:spMkLst>
        </pc:spChg>
        <pc:spChg chg="add del mod">
          <ac:chgData name="Bollapally, Niveed Kumar Reddy" userId="28c4fb1b-a9b6-485c-8fb3-0353347fb226" providerId="ADAL" clId="{F94251E5-0B3B-437C-9C4B-8ABB2BD5D3DA}" dt="2022-01-29T13:03:53.682" v="516" actId="26606"/>
          <ac:spMkLst>
            <pc:docMk/>
            <pc:sldMk cId="1336772705" sldId="369"/>
            <ac:spMk id="15" creationId="{B3C992E7-BAE9-4B0F-B3CF-CDD4CC59122A}"/>
          </ac:spMkLst>
        </pc:spChg>
        <pc:spChg chg="add del mod">
          <ac:chgData name="Bollapally, Niveed Kumar Reddy" userId="28c4fb1b-a9b6-485c-8fb3-0353347fb226" providerId="ADAL" clId="{F94251E5-0B3B-437C-9C4B-8ABB2BD5D3DA}" dt="2022-01-29T13:03:53.682" v="516" actId="26606"/>
          <ac:spMkLst>
            <pc:docMk/>
            <pc:sldMk cId="1336772705" sldId="369"/>
            <ac:spMk id="17" creationId="{7A30B9DB-6007-4083-B8D1-8AB7CAE524B7}"/>
          </ac:spMkLst>
        </pc:spChg>
        <pc:spChg chg="add del mod">
          <ac:chgData name="Bollapally, Niveed Kumar Reddy" userId="28c4fb1b-a9b6-485c-8fb3-0353347fb226" providerId="ADAL" clId="{F94251E5-0B3B-437C-9C4B-8ABB2BD5D3DA}" dt="2022-01-29T13:06:10.105" v="536" actId="22"/>
          <ac:spMkLst>
            <pc:docMk/>
            <pc:sldMk cId="1336772705" sldId="369"/>
            <ac:spMk id="19" creationId="{D5389C17-E740-4D0A-87B3-18F82AE99764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207" v="520" actId="26606"/>
          <ac:spMkLst>
            <pc:docMk/>
            <pc:sldMk cId="1336772705" sldId="369"/>
            <ac:spMk id="22" creationId="{CFAD56CB-83CC-4EB7-8742-5D257D40D3EA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207" v="520" actId="26606"/>
          <ac:spMkLst>
            <pc:docMk/>
            <pc:sldMk cId="1336772705" sldId="369"/>
            <ac:spMk id="24" creationId="{F43498BD-A186-432D-9B34-8F4DEDA7AB07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207" v="520" actId="26606"/>
          <ac:spMkLst>
            <pc:docMk/>
            <pc:sldMk cId="1336772705" sldId="369"/>
            <ac:spMk id="26" creationId="{41063A32-488C-4429-B212-91FA0A710085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207" v="520" actId="26606"/>
          <ac:spMkLst>
            <pc:docMk/>
            <pc:sldMk cId="1336772705" sldId="369"/>
            <ac:spMk id="28" creationId="{C32040E1-9F5B-459F-B959-6D92F1624316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207" v="520" actId="26606"/>
          <ac:spMkLst>
            <pc:docMk/>
            <pc:sldMk cId="1336772705" sldId="369"/>
            <ac:spMk id="30" creationId="{A012D3CA-5478-42D6-BEFA-1D8971A7D9C2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207" v="520" actId="26606"/>
          <ac:spMkLst>
            <pc:docMk/>
            <pc:sldMk cId="1336772705" sldId="369"/>
            <ac:spMk id="32" creationId="{F6C34B36-715C-4DE6-BE16-FD49FAB84EDF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207" v="520" actId="26606"/>
          <ac:spMkLst>
            <pc:docMk/>
            <pc:sldMk cId="1336772705" sldId="369"/>
            <ac:spMk id="34" creationId="{71960C10-1494-4453-9882-4933B566AB93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189" v="519" actId="26606"/>
          <ac:spMkLst>
            <pc:docMk/>
            <pc:sldMk cId="1336772705" sldId="369"/>
            <ac:spMk id="39" creationId="{E4C828B6-21B7-4507-9C14-28753D1818E5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189" v="519" actId="26606"/>
          <ac:spMkLst>
            <pc:docMk/>
            <pc:sldMk cId="1336772705" sldId="369"/>
            <ac:spMk id="41" creationId="{E1B81DE1-A899-4C8F-848B-23C82075E02A}"/>
          </ac:spMkLst>
        </pc:spChg>
        <pc:spChg chg="add del mod">
          <ac:chgData name="Bollapally, Niveed Kumar Reddy" userId="28c4fb1b-a9b6-485c-8fb3-0353347fb226" providerId="ADAL" clId="{F94251E5-0B3B-437C-9C4B-8ABB2BD5D3DA}" dt="2022-01-29T13:04:17.189" v="519" actId="26606"/>
          <ac:spMkLst>
            <pc:docMk/>
            <pc:sldMk cId="1336772705" sldId="369"/>
            <ac:spMk id="43" creationId="{68A03A76-C5E1-493D-A5E0-ABC3FAF65D94}"/>
          </ac:spMkLst>
        </pc:spChg>
        <pc:spChg chg="add del mod">
          <ac:chgData name="Bollapally, Niveed Kumar Reddy" userId="28c4fb1b-a9b6-485c-8fb3-0353347fb226" providerId="ADAL" clId="{F94251E5-0B3B-437C-9C4B-8ABB2BD5D3DA}" dt="2022-01-29T13:04:54.566" v="525" actId="26606"/>
          <ac:spMkLst>
            <pc:docMk/>
            <pc:sldMk cId="1336772705" sldId="369"/>
            <ac:spMk id="45" creationId="{B2F13926-9AF2-4656-9E33-E2B6256D1E87}"/>
          </ac:spMkLst>
        </pc:spChg>
        <pc:spChg chg="add del mod">
          <ac:chgData name="Bollapally, Niveed Kumar Reddy" userId="28c4fb1b-a9b6-485c-8fb3-0353347fb226" providerId="ADAL" clId="{F94251E5-0B3B-437C-9C4B-8ABB2BD5D3DA}" dt="2022-01-29T13:04:54.566" v="525" actId="26606"/>
          <ac:spMkLst>
            <pc:docMk/>
            <pc:sldMk cId="1336772705" sldId="369"/>
            <ac:spMk id="46" creationId="{813129F0-8711-4711-968F-3B66C3A27D67}"/>
          </ac:spMkLst>
        </pc:spChg>
        <pc:spChg chg="add del mod">
          <ac:chgData name="Bollapally, Niveed Kumar Reddy" userId="28c4fb1b-a9b6-485c-8fb3-0353347fb226" providerId="ADAL" clId="{F94251E5-0B3B-437C-9C4B-8ABB2BD5D3DA}" dt="2022-01-29T13:04:54.566" v="525" actId="26606"/>
          <ac:spMkLst>
            <pc:docMk/>
            <pc:sldMk cId="1336772705" sldId="369"/>
            <ac:spMk id="47" creationId="{1F62E6E8-933B-4B64-B0FF-E29D5B1AC887}"/>
          </ac:spMkLst>
        </pc:spChg>
        <pc:spChg chg="add mod">
          <ac:chgData name="Bollapally, Niveed Kumar Reddy" userId="28c4fb1b-a9b6-485c-8fb3-0353347fb226" providerId="ADAL" clId="{F94251E5-0B3B-437C-9C4B-8ABB2BD5D3DA}" dt="2022-01-29T13:04:54.566" v="525" actId="26606"/>
          <ac:spMkLst>
            <pc:docMk/>
            <pc:sldMk cId="1336772705" sldId="369"/>
            <ac:spMk id="52" creationId="{4A9BD0F6-98B6-43A1-859C-EEB82319250F}"/>
          </ac:spMkLst>
        </pc:spChg>
        <pc:spChg chg="add mod">
          <ac:chgData name="Bollapally, Niveed Kumar Reddy" userId="28c4fb1b-a9b6-485c-8fb3-0353347fb226" providerId="ADAL" clId="{F94251E5-0B3B-437C-9C4B-8ABB2BD5D3DA}" dt="2022-01-29T13:10:21.056" v="665" actId="20577"/>
          <ac:spMkLst>
            <pc:docMk/>
            <pc:sldMk cId="1336772705" sldId="369"/>
            <ac:spMk id="54" creationId="{B1640204-25B7-44D6-A958-6DBB85942EF3}"/>
          </ac:spMkLst>
        </pc:spChg>
        <pc:spChg chg="add mod">
          <ac:chgData name="Bollapally, Niveed Kumar Reddy" userId="28c4fb1b-a9b6-485c-8fb3-0353347fb226" providerId="ADAL" clId="{F94251E5-0B3B-437C-9C4B-8ABB2BD5D3DA}" dt="2022-01-29T13:11:08.932" v="723" actId="20577"/>
          <ac:spMkLst>
            <pc:docMk/>
            <pc:sldMk cId="1336772705" sldId="369"/>
            <ac:spMk id="56" creationId="{7AA69BD0-B28F-4D3F-ADE1-6943875A0B27}"/>
          </ac:spMkLst>
        </pc:spChg>
        <pc:spChg chg="add mod">
          <ac:chgData name="Bollapally, Niveed Kumar Reddy" userId="28c4fb1b-a9b6-485c-8fb3-0353347fb226" providerId="ADAL" clId="{F94251E5-0B3B-437C-9C4B-8ABB2BD5D3DA}" dt="2022-01-29T13:11:34.495" v="762" actId="20577"/>
          <ac:spMkLst>
            <pc:docMk/>
            <pc:sldMk cId="1336772705" sldId="369"/>
            <ac:spMk id="58" creationId="{38F5E094-96EB-4145-963E-9DA09B7BACC3}"/>
          </ac:spMkLst>
        </pc:spChg>
        <pc:spChg chg="add mod">
          <ac:chgData name="Bollapally, Niveed Kumar Reddy" userId="28c4fb1b-a9b6-485c-8fb3-0353347fb226" providerId="ADAL" clId="{F94251E5-0B3B-437C-9C4B-8ABB2BD5D3DA}" dt="2022-01-29T13:11:56.894" v="804" actId="20577"/>
          <ac:spMkLst>
            <pc:docMk/>
            <pc:sldMk cId="1336772705" sldId="369"/>
            <ac:spMk id="60" creationId="{F58F5322-894A-41C1-BCCB-70C1C6529575}"/>
          </ac:spMkLst>
        </pc:spChg>
        <pc:spChg chg="add del mod">
          <ac:chgData name="Bollapally, Niveed Kumar Reddy" userId="28c4fb1b-a9b6-485c-8fb3-0353347fb226" providerId="ADAL" clId="{F94251E5-0B3B-437C-9C4B-8ABB2BD5D3DA}" dt="2022-01-29T13:05:48.354" v="534" actId="22"/>
          <ac:spMkLst>
            <pc:docMk/>
            <pc:sldMk cId="1336772705" sldId="369"/>
            <ac:spMk id="62" creationId="{DE085F09-53FE-484D-8C61-97FA767317AF}"/>
          </ac:spMkLst>
        </pc:spChg>
        <pc:spChg chg="add del mod">
          <ac:chgData name="Bollapally, Niveed Kumar Reddy" userId="28c4fb1b-a9b6-485c-8fb3-0353347fb226" providerId="ADAL" clId="{F94251E5-0B3B-437C-9C4B-8ABB2BD5D3DA}" dt="2022-01-29T13:07:48.911" v="542" actId="22"/>
          <ac:spMkLst>
            <pc:docMk/>
            <pc:sldMk cId="1336772705" sldId="369"/>
            <ac:spMk id="64" creationId="{8B5ECFDE-EB52-4B3A-8A31-EDBD5B7B3467}"/>
          </ac:spMkLst>
        </pc:spChg>
        <pc:picChg chg="add mod ord">
          <ac:chgData name="Bollapally, Niveed Kumar Reddy" userId="28c4fb1b-a9b6-485c-8fb3-0353347fb226" providerId="ADAL" clId="{F94251E5-0B3B-437C-9C4B-8ABB2BD5D3DA}" dt="2022-01-29T13:08:11.103" v="548" actId="14100"/>
          <ac:picMkLst>
            <pc:docMk/>
            <pc:sldMk cId="1336772705" sldId="369"/>
            <ac:picMk id="8" creationId="{72355655-2FE7-4916-8BB2-8A6BC3830466}"/>
          </ac:picMkLst>
        </pc:picChg>
        <pc:picChg chg="add del mod ord">
          <ac:chgData name="Bollapally, Niveed Kumar Reddy" userId="28c4fb1b-a9b6-485c-8fb3-0353347fb226" providerId="ADAL" clId="{F94251E5-0B3B-437C-9C4B-8ABB2BD5D3DA}" dt="2022-01-29T13:05:35.207" v="533" actId="22"/>
          <ac:picMkLst>
            <pc:docMk/>
            <pc:sldMk cId="1336772705" sldId="369"/>
            <ac:picMk id="10" creationId="{07ECC9B6-FE13-4D79-8531-2C17CB5D6415}"/>
          </ac:picMkLst>
        </pc:picChg>
        <pc:picChg chg="add mod ord">
          <ac:chgData name="Bollapally, Niveed Kumar Reddy" userId="28c4fb1b-a9b6-485c-8fb3-0353347fb226" providerId="ADAL" clId="{F94251E5-0B3B-437C-9C4B-8ABB2BD5D3DA}" dt="2022-01-29T13:08:04.185" v="546" actId="14100"/>
          <ac:picMkLst>
            <pc:docMk/>
            <pc:sldMk cId="1336772705" sldId="369"/>
            <ac:picMk id="12" creationId="{48BF635E-2CF8-4D09-9526-A8C8BAF9EE54}"/>
          </ac:picMkLst>
        </pc:picChg>
        <pc:picChg chg="add mod ord">
          <ac:chgData name="Bollapally, Niveed Kumar Reddy" userId="28c4fb1b-a9b6-485c-8fb3-0353347fb226" providerId="ADAL" clId="{F94251E5-0B3B-437C-9C4B-8ABB2BD5D3DA}" dt="2022-01-29T13:06:27.585" v="541" actId="14100"/>
          <ac:picMkLst>
            <pc:docMk/>
            <pc:sldMk cId="1336772705" sldId="369"/>
            <ac:picMk id="16" creationId="{A98E29A2-396F-4FC2-B553-EC064079F57B}"/>
          </ac:picMkLst>
        </pc:picChg>
        <pc:picChg chg="add mod ord">
          <ac:chgData name="Bollapally, Niveed Kumar Reddy" userId="28c4fb1b-a9b6-485c-8fb3-0353347fb226" providerId="ADAL" clId="{F94251E5-0B3B-437C-9C4B-8ABB2BD5D3DA}" dt="2022-01-29T13:07:56.931" v="544" actId="14100"/>
          <ac:picMkLst>
            <pc:docMk/>
            <pc:sldMk cId="1336772705" sldId="369"/>
            <ac:picMk id="20" creationId="{5D503BC4-765A-4770-86D6-B1AFD8BEC5E7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1/29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1/29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379C5F59-8B65-447B-8DA4-3F27998709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2" r="3262"/>
          <a:stretch>
            <a:fillRect/>
          </a:stretch>
        </p:blipFill>
        <p:spPr>
          <a:xfrm>
            <a:off x="0" y="0"/>
            <a:ext cx="10080625" cy="4293096"/>
          </a:xfr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845800"/>
            <a:ext cx="10080625" cy="3304175"/>
          </a:xfrm>
        </p:spPr>
        <p:txBody>
          <a:bodyPr/>
          <a:lstStyle/>
          <a:p>
            <a:r>
              <a:rPr lang="en-US" dirty="0" err="1"/>
              <a:t>AirTable</a:t>
            </a:r>
            <a:r>
              <a:rPr lang="en-US" dirty="0"/>
              <a:t> Provider</a:t>
            </a:r>
          </a:p>
        </p:txBody>
      </p:sp>
      <p:sp>
        <p:nvSpPr>
          <p:cNvPr id="17" name="Subtitle 16">
            <a:extLst>
              <a:ext uri="{FF2B5EF4-FFF2-40B4-BE49-F238E27FC236}">
                <a16:creationId xmlns:a16="http://schemas.microsoft.com/office/drawing/2014/main" id="{86EFEFE6-40D8-4F98-A8DC-DB4A69331A7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950" y="5676822"/>
            <a:ext cx="5637963" cy="38898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articipants:</a:t>
            </a:r>
          </a:p>
          <a:p>
            <a:r>
              <a:rPr lang="en-US" dirty="0"/>
              <a:t>Niveed Kumar Reddy Bollapally</a:t>
            </a:r>
          </a:p>
          <a:p>
            <a:r>
              <a:rPr lang="en-US" dirty="0"/>
              <a:t>Sumanth Lakshman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irTab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US" sz="1800" b="1" kern="0" dirty="0" err="1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irTable</a:t>
            </a:r>
            <a:r>
              <a:rPr lang="en-US" sz="1800" b="1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Connector is a new </a:t>
            </a:r>
            <a:r>
              <a:rPr lang="en-IN" sz="1800" b="1" u="none" strike="noStrike" kern="0" spc="0" dirty="0" err="1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bMethods</a:t>
            </a:r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1800" b="1" u="none" strike="noStrike" kern="0" spc="0" dirty="0" err="1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oudStreams</a:t>
            </a:r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rovider for </a:t>
            </a:r>
            <a:r>
              <a:rPr lang="en-IN" sz="1800" b="1" u="none" strike="noStrike" kern="0" spc="0" dirty="0" err="1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irTable</a:t>
            </a:r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AAS application.</a:t>
            </a:r>
          </a:p>
          <a:p>
            <a:r>
              <a:rPr lang="en-US" b="0" i="0" dirty="0" err="1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Airtable</a:t>
            </a:r>
            <a:r>
              <a:rPr lang="en-US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 is a relational database tool that's also an online collaboration tool</a:t>
            </a:r>
            <a:r>
              <a:rPr lang="en-US" dirty="0"/>
              <a:t>.</a:t>
            </a:r>
          </a:p>
          <a:p>
            <a:r>
              <a:rPr lang="en-US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You can use it to </a:t>
            </a:r>
            <a:r>
              <a:rPr lang="en-US" b="1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manage work, track and organize inventories, plan an event, and much more</a:t>
            </a:r>
            <a:r>
              <a:rPr lang="en-US" dirty="0"/>
              <a:t>.</a:t>
            </a:r>
          </a:p>
          <a:p>
            <a:r>
              <a:rPr lang="en-US" dirty="0" err="1"/>
              <a:t>AirTable</a:t>
            </a:r>
            <a:r>
              <a:rPr lang="en-US" dirty="0"/>
              <a:t> Connector performs CURD operations. Helps in creating, updating, retrieving and deleting records from project tables.</a:t>
            </a:r>
          </a:p>
          <a:p>
            <a:r>
              <a:rPr lang="en-US" dirty="0" err="1"/>
              <a:t>Airtable</a:t>
            </a:r>
            <a:r>
              <a:rPr lang="en-US" dirty="0"/>
              <a:t> Connector is a lightweight connector, excellent collaboration and integrates easily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9301" y="6539400"/>
            <a:ext cx="53467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2021 Software AG. All rights reserved. For internal use only and for Software AG Partner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1200" y="6539400"/>
            <a:ext cx="3881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22FF84AA-2C76-4AF1-8502-73D25D47F37C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IN" dirty="0"/>
              <a:t>Screenshots </a:t>
            </a:r>
            <a:r>
              <a:rPr lang="en-IN"/>
              <a:t>for workflow</a:t>
            </a:r>
          </a:p>
        </p:txBody>
      </p:sp>
      <p:sp>
        <p:nvSpPr>
          <p:cNvPr id="52" name="Subtitle 4">
            <a:extLst>
              <a:ext uri="{FF2B5EF4-FFF2-40B4-BE49-F238E27FC236}">
                <a16:creationId xmlns:a16="http://schemas.microsoft.com/office/drawing/2014/main" id="{4A9BD0F6-98B6-43A1-859C-EEB82319250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/>
          <a:lstStyle/>
          <a:p>
            <a:endParaRPr lang="en-US"/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B1640204-25B7-44D6-A958-6DBB85942E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/>
          <a:p>
            <a:r>
              <a:rPr lang="en-US" dirty="0"/>
              <a:t>Workflow which helps in getting all records and getting a specific project record. 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7AA69BD0-B28F-4D3F-ADE1-6943875A0B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/>
          <a:p>
            <a:r>
              <a:rPr lang="en-US" dirty="0"/>
              <a:t>Select the operation to be performed by the connector.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38F5E094-96EB-4145-963E-9DA09B7BAC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/>
          <a:p>
            <a:r>
              <a:rPr lang="en-US" dirty="0"/>
              <a:t>Mapping the data for the action.</a:t>
            </a:r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F58F5322-894A-41C1-BCCB-70C1C65295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/>
          <a:p>
            <a:r>
              <a:rPr lang="en-US" dirty="0"/>
              <a:t>Logger information of the connecter data.</a:t>
            </a: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48BF635E-2CF8-4D09-9526-A8C8BAF9EE54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/>
          <a:stretch>
            <a:fillRect/>
          </a:stretch>
        </p:blipFill>
        <p:spPr>
          <a:xfrm>
            <a:off x="3276600" y="1806829"/>
            <a:ext cx="2719388" cy="1565430"/>
          </a:xfrm>
        </p:spPr>
      </p:pic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72355655-2FE7-4916-8BB2-8A6BC3830466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3"/>
          <a:stretch>
            <a:fillRect/>
          </a:stretch>
        </p:blipFill>
        <p:spPr>
          <a:xfrm>
            <a:off x="366980" y="1798746"/>
            <a:ext cx="2720851" cy="1573513"/>
          </a:xfrm>
          <a:noFill/>
        </p:spPr>
      </p:pic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A98E29A2-396F-4FC2-B553-EC064079F57B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4"/>
          <a:stretch>
            <a:fillRect/>
          </a:stretch>
        </p:blipFill>
        <p:spPr>
          <a:xfrm>
            <a:off x="6184757" y="1806829"/>
            <a:ext cx="2719388" cy="1565431"/>
          </a:xfrm>
        </p:spPr>
      </p:pic>
      <p:pic>
        <p:nvPicPr>
          <p:cNvPr id="20" name="Content Placeholder 19">
            <a:extLst>
              <a:ext uri="{FF2B5EF4-FFF2-40B4-BE49-F238E27FC236}">
                <a16:creationId xmlns:a16="http://schemas.microsoft.com/office/drawing/2014/main" id="{5D503BC4-765A-4770-86D6-B1AFD8BEC5E7}"/>
              </a:ext>
            </a:extLst>
          </p:cNvPr>
          <p:cNvPicPr>
            <a:picLocks noGrp="1" noChangeAspect="1"/>
          </p:cNvPicPr>
          <p:nvPr>
            <p:ph sz="quarter" idx="24"/>
          </p:nvPr>
        </p:nvPicPr>
        <p:blipFill>
          <a:blip r:embed="rId5"/>
          <a:stretch>
            <a:fillRect/>
          </a:stretch>
        </p:blipFill>
        <p:spPr>
          <a:xfrm>
            <a:off x="9118927" y="1806829"/>
            <a:ext cx="2720975" cy="1565430"/>
          </a:xfrm>
        </p:spPr>
      </p:pic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215</Words>
  <Application>Microsoft Office PowerPoint</Application>
  <PresentationFormat>Widescreen</PresentationFormat>
  <Paragraphs>26</Paragraphs>
  <Slides>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Rubik</vt:lpstr>
      <vt:lpstr>Wingdings</vt:lpstr>
      <vt:lpstr>Symbol</vt:lpstr>
      <vt:lpstr>arial</vt:lpstr>
      <vt:lpstr>Trebuchet MS</vt:lpstr>
      <vt:lpstr>Software AG 2021</vt:lpstr>
      <vt:lpstr>AirTable Provider</vt:lpstr>
      <vt:lpstr>AirTable</vt:lpstr>
      <vt:lpstr>Screenshots for workflow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Bollapally, Niveed Kumar Reddy</cp:lastModifiedBy>
  <cp:revision>1</cp:revision>
  <dcterms:created xsi:type="dcterms:W3CDTF">2022-01-10T12:32:13Z</dcterms:created>
  <dcterms:modified xsi:type="dcterms:W3CDTF">2022-01-29T13:12:03Z</dcterms:modified>
</cp:coreProperties>
</file>